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drawings/vmlDrawing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media/image3.svg" ContentType="image/svg+xml"/>
  <Override PartName="/ppt/media/image5.svg" ContentType="image/svg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4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'1.0' encoding='UTF-8' standalone='yes'?>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E9EAFF-1371-4D52-B0C3-99879D87B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CADDCB0-D47A-49F7-90D6-A3E8D67E52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EE3AEE6-042E-4D6B-8B88-787B26EC9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E93004-21AD-47B8-95E0-D160F270C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1EEA69-5082-4FC8-86B7-1D2D364BC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7531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B27812-2234-4BAD-AB7B-142A852E3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6C1E72A-4BD8-419D-9532-C6EA3D79A2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BD2B48-7014-4BFB-A08D-07983237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1135DE-CC5B-40D9-BC44-2BB6BA43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6A5C3E-6EDC-45FD-BE63-E2A5D3C8A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9007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F97CB18-7530-4976-9629-4066CAF1DD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99AA22B-D151-4BC3-B62F-03BA894885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614F9C8-101B-435C-9830-F2E6819A0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7B1C12-9D21-4F11-B724-DF88DAEEE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F33D16-D24E-4532-B57D-9BCDEFD95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9839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9F25A8-9C64-45D7-AD93-DE1A4E3E8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BC9C8F-5BBF-45F6-8CEB-93E14C559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466352-0911-44FD-AA32-2296B6C2B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B2D767-E6AC-41CA-B526-BF45C5718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F31609-E13E-4A64-B0A2-726B06039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84827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8E9D44-356D-49FE-91CA-BA06F2DD6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A08A72-4F5D-495E-AA03-A5BBCCE172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6366E3-0803-494B-B506-40B780A2A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492194-B3CA-40CB-8A5F-B94EFFCA0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D5859C-1EAD-4261-95BF-04ED21E16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573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C3C350-B649-4D84-A15A-BCE0371E6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914847-06F6-44A6-B42B-4A04FEE746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5845609-B7A9-4F2F-9B3A-1A0063292B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F4C687-5909-4E2E-9242-5FBA20A81A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531B017-223F-40E6-B506-379946920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72D51A2-9838-4147-BF83-FECD2592E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668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1E7349-FEA5-47DE-9343-42A245F61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5B42FB-21C8-4A24-B827-6B9D7664ED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1ADBCD0-8DC1-4256-B93C-8AF45BE17E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0E5ADCB-0372-480D-AA25-C007939DB4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A8D2C0C-F7A1-4BB6-8565-30F28A001B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6F415B1-F4A2-4AB0-AC4C-B0E3DD1F7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EE80A5C-3C23-4D88-881B-0463B3240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7E27869-DDD6-4663-8B90-28A5E52CD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7851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E376F3-7FC5-4487-B013-BF86634EA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587BAB-ACA1-48F8-98E0-AD55ED35B4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FC2BC5-3B26-4713-9A81-8DB5973F3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2D9135A-9C77-45DC-B938-21E6E874E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768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1A3FE9C-38EF-4DC2-B5A2-7D65FCBDF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D369E9-3CAA-496C-8C0F-9409EDEB8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C1058C-BB91-4CC6-A7DE-5D7216D8F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8526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2CE9A2-D7F6-4AC9-9E6B-AFF85F63E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26AF1E-D952-46A8-9448-AEF3182847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1AA295E-EE3D-4D5D-A901-AE0FEF817C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BFD10C-8C30-4ACF-8409-615B7D3AE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E02C63B-0130-4AE5-850A-42B9B117F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B6A00B-F76A-44C1-A35B-E942B6157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10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C9C73C-A36E-4D6D-BEC0-331B6F882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457F88E-7148-4E23-8089-271C20EA13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6D380DA-94F9-41AA-AA4A-FE5F0EADD5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1D0618-BAC6-49E9-BD23-6881CA749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BCEC7BC-9841-46CF-B3E4-A067F1903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1A66D90-0BE2-4536-ADB4-FD674DE41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9336698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414A84-2F9D-4396-979B-9939A25BEF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764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16" imgW="395" imgH="394" progId="TCLayout.ActiveDocument.1">
                  <p:embed/>
                </p:oleObj>
              </mc:Choice>
              <mc:Fallback>
                <p:oleObj name="think-cell Foli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C881B89-6191-490A-9714-C3563BE67DD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98D9E4A-69F1-42C1-B6EC-393FC69EA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58A5A1-9145-437E-8103-131B338B24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4D4C92-5282-4E32-9E2B-BBE62A1B3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A001F7-39FC-4893-AA05-B914349F28A0}" type="datetimeFigureOut">
              <a:rPr lang="de-DE" smtClean="0"/>
              <a:t>06.12.20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4AADC59-2A24-429A-B15D-1D69E76CA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85BC71-23D0-4D68-B022-DAE7C7EB9B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F99C4B-7DAC-4ECE-BFBD-51955A175F7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043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2.xml.rels><?xml version='1.0' encoding='UTF-8' standalone='yes'?>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3.xml.rels><?xml version='1.0' encoding='UTF-8' standalone='yes'?>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3ECA12-155B-493C-BFA7-3E8A836A96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5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91542C5-FD0F-44B0-AC05-8C18582324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8B860854-BF10-471A-9517-7BC566D37EBE}"/>
              </a:ext>
            </a:extLst>
          </p:cNvPr>
          <p:cNvSpPr txBox="1">
            <a:spLocks/>
          </p:cNvSpPr>
          <p:nvPr/>
        </p:nvSpPr>
        <p:spPr>
          <a:xfrm>
            <a:off x="593514" y="1508660"/>
            <a:ext cx="3438524" cy="4839495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63E4973-CF08-4173-B150-F560BE21EEC6}"/>
              </a:ext>
            </a:extLst>
          </p:cNvPr>
          <p:cNvSpPr txBox="1"/>
          <p:nvPr/>
        </p:nvSpPr>
        <p:spPr>
          <a:xfrm>
            <a:off x="6225825" y="4439424"/>
            <a:ext cx="1200150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Reveni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8F5B81C-8604-402E-8B88-7BD9DDD57DF9}"/>
              </a:ext>
            </a:extLst>
          </p:cNvPr>
          <p:cNvSpPr txBox="1"/>
          <p:nvPr/>
        </p:nvSpPr>
        <p:spPr>
          <a:xfrm>
            <a:off x="5394750" y="1914099"/>
            <a:ext cx="1831200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Mais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4C5142-F502-4F66-BBD4-966D4C96E2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5588"/>
            <a:ext cx="9144000" cy="982662"/>
          </a:xfr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r>
              <a:rPr lang="de-DE" b="1" dirty="0">
                <a:solidFill>
                  <a:schemeClr val="bg1"/>
                </a:solidFill>
              </a:rPr>
              <a:t>Exposé de projet d'exemp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F58E32F-3F93-43AB-A46E-2BB732ADE3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33475" y="1592263"/>
            <a:ext cx="2486025" cy="455612"/>
          </a:xfrm>
        </p:spPr>
        <p:txBody>
          <a:bodyPr/>
          <a:lstStyle/>
          <a:p>
            <a:r>
              <a:rPr lang="de-DE" b="1" dirty="0"/>
              <a:t>Données de base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82C8436D-A114-45A8-B9A0-C46B861B11FD}"/>
              </a:ext>
            </a:extLst>
          </p:cNvPr>
          <p:cNvSpPr txBox="1">
            <a:spLocks/>
          </p:cNvSpPr>
          <p:nvPr/>
        </p:nvSpPr>
        <p:spPr>
          <a:xfrm>
            <a:off x="771525" y="2503487"/>
            <a:ext cx="3352800" cy="18436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Tx/>
              <a:buChar char="-"/>
            </a:pPr>
            <a:r>
              <a:rPr lang="de-DE" dirty="0"/>
              <a:t>le bureau du docteur</a:t>
            </a:r>
          </a:p>
          <a:p>
            <a:pPr marL="342900" indent="-342900" algn="l">
              <a:lnSpc>
                <a:spcPct val="100000"/>
              </a:lnSpc>
              <a:buFontTx/>
              <a:buChar char="-"/>
            </a:pPr>
            <a:r>
              <a:rPr lang="de-DE" dirty="0"/>
              <a:t>Jardin d'enfants</a:t>
            </a:r>
          </a:p>
          <a:p>
            <a:pPr marL="342900" indent="-342900" algn="l">
              <a:lnSpc>
                <a:spcPct val="100000"/>
              </a:lnSpc>
              <a:buFontTx/>
              <a:buChar char="-"/>
            </a:pPr>
            <a:r>
              <a:rPr lang="de-DE" dirty="0"/>
              <a:t>Magasin de chaussures</a:t>
            </a:r>
          </a:p>
          <a:p>
            <a:pPr marL="342900" indent="-342900" algn="l">
              <a:lnSpc>
                <a:spcPct val="100000"/>
              </a:lnSpc>
              <a:buFontTx/>
              <a:buChar char="-"/>
            </a:pPr>
            <a:endParaRPr lang="de-DE" dirty="0"/>
          </a:p>
          <a:p>
            <a:pPr algn="l">
              <a:lnSpc>
                <a:spcPct val="100000"/>
              </a:lnSpc>
            </a:pPr>
            <a:endParaRPr lang="de-DE" u="sng" dirty="0"/>
          </a:p>
        </p:txBody>
      </p:sp>
      <p:pic>
        <p:nvPicPr>
          <p:cNvPr id="9" name="Grafik 8" descr="Statistik">
            <a:extLst>
              <a:ext uri="{FF2B5EF4-FFF2-40B4-BE49-F238E27FC236}">
                <a16:creationId xmlns:a16="http://schemas.microsoft.com/office/drawing/2014/main" id="{631BEA22-FE44-4659-B238-6FA2FBC784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14824" y="4085411"/>
            <a:ext cx="2517001" cy="2517001"/>
          </a:xfrm>
          <a:prstGeom prst="rect">
            <a:avLst/>
          </a:prstGeom>
        </p:spPr>
      </p:pic>
      <p:pic>
        <p:nvPicPr>
          <p:cNvPr id="11" name="Grafik 10" descr="Gebäude">
            <a:extLst>
              <a:ext uri="{FF2B5EF4-FFF2-40B4-BE49-F238E27FC236}">
                <a16:creationId xmlns:a16="http://schemas.microsoft.com/office/drawing/2014/main" id="{F7494E01-BE3F-49CF-95B1-2ED1ADD4A9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86275" y="1592263"/>
            <a:ext cx="2024100" cy="20241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4B7D7F49-195A-4DB0-B491-11E107BF1FE8}"/>
              </a:ext>
            </a:extLst>
          </p:cNvPr>
          <p:cNvSpPr txBox="1"/>
          <p:nvPr/>
        </p:nvSpPr>
        <p:spPr>
          <a:xfrm>
            <a:off x="8486775" y="2047875"/>
            <a:ext cx="218122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Cet exemple de texte peut être traduit dans n'importe quelle langue. Assurez-vous que la traduction contient approximativement le même nombre de lettres que l'original afin qu'aucun champ de texte long ne dépasse de la page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EB8DC41-F4FE-47A7-95CF-FBE16B0EEF2D}"/>
              </a:ext>
            </a:extLst>
          </p:cNvPr>
          <p:cNvSpPr txBox="1"/>
          <p:nvPr/>
        </p:nvSpPr>
        <p:spPr>
          <a:xfrm>
            <a:off x="8414766" y="1694196"/>
            <a:ext cx="2181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Exemple de text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C8F5A31-50FF-416D-A468-C1B39CFA54AA}"/>
              </a:ext>
            </a:extLst>
          </p:cNvPr>
          <p:cNvSpPr txBox="1"/>
          <p:nvPr/>
        </p:nvSpPr>
        <p:spPr>
          <a:xfrm>
            <a:off x="771525" y="2047875"/>
            <a:ext cx="2999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u="sng" dirty="0"/>
              <a:t>Locataire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183BF14-135A-4012-AD40-F93748D655DB}"/>
              </a:ext>
            </a:extLst>
          </p:cNvPr>
          <p:cNvSpPr txBox="1"/>
          <p:nvPr/>
        </p:nvSpPr>
        <p:spPr>
          <a:xfrm>
            <a:off x="771524" y="4347091"/>
            <a:ext cx="2999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u="sng" dirty="0"/>
              <a:t>Espace commun: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F6CA1468-FA63-4CC6-BC70-380517A4C420}"/>
              </a:ext>
            </a:extLst>
          </p:cNvPr>
          <p:cNvSpPr txBox="1">
            <a:spLocks/>
          </p:cNvSpPr>
          <p:nvPr/>
        </p:nvSpPr>
        <p:spPr>
          <a:xfrm>
            <a:off x="771525" y="4756839"/>
            <a:ext cx="3352800" cy="1022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Tx/>
              <a:buChar char="-"/>
            </a:pPr>
            <a:r>
              <a:rPr lang="de-DE" dirty="0"/>
              <a:t>Parking de 98 m2</a:t>
            </a:r>
          </a:p>
          <a:p>
            <a:pPr marL="342900" indent="-342900" algn="l">
              <a:lnSpc>
                <a:spcPct val="100000"/>
              </a:lnSpc>
              <a:buFontTx/>
              <a:buChar char="-"/>
            </a:pPr>
            <a:r>
              <a:rPr lang="de-DE" dirty="0"/>
              <a:t>Aire de jeux de 60 m2</a:t>
            </a:r>
          </a:p>
          <a:p>
            <a:pPr marL="342900" indent="-342900" algn="l">
              <a:lnSpc>
                <a:spcPct val="100000"/>
              </a:lnSpc>
              <a:buFontTx/>
              <a:buChar char="-"/>
            </a:pPr>
            <a:endParaRPr lang="de-DE" dirty="0"/>
          </a:p>
          <a:p>
            <a:pPr algn="l">
              <a:lnSpc>
                <a:spcPct val="100000"/>
              </a:lnSpc>
            </a:pPr>
            <a:endParaRPr lang="de-DE" u="sng" dirty="0"/>
          </a:p>
        </p:txBody>
      </p:sp>
    </p:spTree>
    <p:extLst>
      <p:ext uri="{BB962C8B-B14F-4D97-AF65-F5344CB8AC3E}">
        <p14:creationId xmlns:p14="http://schemas.microsoft.com/office/powerpoint/2010/main" val="848318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3ECA12-155B-493C-BFA7-3E8A836A96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3ECA12-155B-493C-BFA7-3E8A836A9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91542C5-FD0F-44B0-AC05-8C18582324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4C5142-F502-4F66-BBD4-966D4C96E2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5588"/>
            <a:ext cx="9144000" cy="982662"/>
          </a:xfr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r>
              <a:rPr lang="de-DE" b="1" dirty="0">
                <a:solidFill>
                  <a:schemeClr val="bg1"/>
                </a:solidFill>
              </a:rPr>
              <a:t>Exposé de projet d'exemple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369A8DE-5560-4C0D-9DA7-9BBDDE0377C6}"/>
              </a:ext>
            </a:extLst>
          </p:cNvPr>
          <p:cNvSpPr/>
          <p:nvPr/>
        </p:nvSpPr>
        <p:spPr>
          <a:xfrm>
            <a:off x="2816352" y="2621280"/>
            <a:ext cx="6778752" cy="3328416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/>
              <a:t>Plus d'informations dans un formulaire</a:t>
            </a:r>
          </a:p>
        </p:txBody>
      </p:sp>
    </p:spTree>
    <p:extLst>
      <p:ext uri="{BB962C8B-B14F-4D97-AF65-F5344CB8AC3E}">
        <p14:creationId xmlns:p14="http://schemas.microsoft.com/office/powerpoint/2010/main" val="3305249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3ECA12-155B-493C-BFA7-3E8A836A96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3ECA12-155B-493C-BFA7-3E8A836A9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91542C5-FD0F-44B0-AC05-8C18582324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4C5142-F502-4F66-BBD4-966D4C96E2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5588"/>
            <a:ext cx="9144000" cy="982662"/>
          </a:xfr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r>
              <a:rPr lang="de-DE" b="1" dirty="0">
                <a:solidFill>
                  <a:schemeClr val="bg1"/>
                </a:solidFill>
              </a:rPr>
              <a:t>Exposé de projet d'exempl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C4DF0DD-FB92-4249-B412-F0519058380F}"/>
              </a:ext>
            </a:extLst>
          </p:cNvPr>
          <p:cNvSpPr txBox="1"/>
          <p:nvPr/>
        </p:nvSpPr>
        <p:spPr>
          <a:xfrm>
            <a:off x="1981200" y="2216727"/>
            <a:ext cx="85482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Voici peut-être votre publicité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8D65D67-968D-4555-8A19-456A5F7337C9}"/>
              </a:ext>
            </a:extLst>
          </p:cNvPr>
          <p:cNvSpPr txBox="1"/>
          <p:nvPr/>
        </p:nvSpPr>
        <p:spPr>
          <a:xfrm>
            <a:off x="1981199" y="3136612"/>
            <a:ext cx="85482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Mangez ici maintenant. C'est délicieux. Leonard est un excellent cuisinier.</a:t>
            </a:r>
          </a:p>
        </p:txBody>
      </p:sp>
    </p:spTree>
    <p:extLst>
      <p:ext uri="{BB962C8B-B14F-4D97-AF65-F5344CB8AC3E}">
        <p14:creationId xmlns:p14="http://schemas.microsoft.com/office/powerpoint/2010/main" val="3126441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lx9NKIAek1hXI4QZiv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v7wdT2teQF4rhmrmQ1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v7wdT2teQF4rhmrmQ1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v7wdT2teQF4rhmrmQ1C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</Words>
  <Application>Microsoft Office PowerPoint</Application>
  <PresentationFormat>Breitbild</PresentationFormat>
  <Paragraphs>18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</vt:lpstr>
      <vt:lpstr>think-cell Folie</vt:lpstr>
      <vt:lpstr>Exposé von Beispielprojekt</vt:lpstr>
      <vt:lpstr>Exposé von Beispielprojekt</vt:lpstr>
      <vt:lpstr>Exposé von Beispielproje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osé von Beispielprojekt</dc:title>
  <dc:creator>Leonard Boes</dc:creator>
  <cp:lastModifiedBy>Leonard Boes</cp:lastModifiedBy>
  <cp:revision>11</cp:revision>
  <dcterms:created xsi:type="dcterms:W3CDTF">2019-12-05T14:17:38Z</dcterms:created>
  <dcterms:modified xsi:type="dcterms:W3CDTF">2019-12-06T20:01:26Z</dcterms:modified>
</cp:coreProperties>
</file>